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15"/>
  </p:notesMasterIdLst>
  <p:handoutMasterIdLst>
    <p:handoutMasterId r:id="rId16"/>
  </p:handoutMasterIdLst>
  <p:sldIdLst>
    <p:sldId id="256" r:id="rId7"/>
    <p:sldId id="260" r:id="rId8"/>
    <p:sldId id="261" r:id="rId9"/>
    <p:sldId id="264" r:id="rId10"/>
    <p:sldId id="269" r:id="rId11"/>
    <p:sldId id="265" r:id="rId12"/>
    <p:sldId id="266" r:id="rId13"/>
    <p:sldId id="268" r:id="rId1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8" d="100"/>
          <a:sy n="98" d="100"/>
        </p:scale>
        <p:origin x="1368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15/11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hyperlink" Target="https://fr.wikipedia.org/wiki/Hearthstone:_Heroes_of_Warcraft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err="1" smtClean="0"/>
              <a:t>TypeScript</a:t>
            </a:r>
            <a:r>
              <a:rPr lang="fr-FR" b="1" dirty="0" smtClean="0"/>
              <a:t> Workshop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675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16/11/2016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smtClean="0"/>
              <a:t>Code Dojo</a:t>
            </a:r>
            <a:br>
              <a:rPr lang="fr-FR" sz="3600" dirty="0" smtClean="0"/>
            </a:br>
            <a:r>
              <a:rPr lang="fr-FR" sz="2400" dirty="0" err="1" smtClean="0"/>
              <a:t>Some</a:t>
            </a:r>
            <a:r>
              <a:rPr lang="fr-FR" sz="2400" dirty="0" smtClean="0"/>
              <a:t> </a:t>
            </a:r>
            <a:r>
              <a:rPr lang="fr-FR" sz="2400" dirty="0" err="1" smtClean="0"/>
              <a:t>Principles</a:t>
            </a:r>
            <a:endParaRPr lang="fr-FR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fr-FR" sz="2800" dirty="0" err="1"/>
              <a:t>Communicate</a:t>
            </a:r>
            <a:endParaRPr lang="fr-FR" sz="2800" dirty="0"/>
          </a:p>
          <a:p>
            <a:pPr lvl="1">
              <a:buFont typeface="Wingdings" pitchFamily="2" charset="2"/>
              <a:buChar char="v"/>
            </a:pP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your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partner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be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a pair,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with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the group</a:t>
            </a: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Code </a:t>
            </a:r>
            <a:r>
              <a:rPr lang="fr-FR" sz="2800" dirty="0" err="1" smtClean="0"/>
              <a:t>is</a:t>
            </a:r>
            <a:r>
              <a:rPr lang="fr-FR" sz="2800" dirty="0" smtClean="0"/>
              <a:t> design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No design talk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ou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code, no code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withou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talking</a:t>
            </a:r>
            <a:endParaRPr lang="fr-F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No due date, no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delivery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, no tricks</a:t>
            </a:r>
            <a:endParaRPr lang="fr-FR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Open-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minded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others</a:t>
            </a:r>
            <a:endParaRPr lang="fr-FR" sz="18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fr-FR" sz="2800" dirty="0" smtClean="0"/>
              <a:t>Challenge </a:t>
            </a:r>
            <a:r>
              <a:rPr lang="fr-FR" sz="2800" dirty="0" err="1" smtClean="0"/>
              <a:t>yourself</a:t>
            </a:r>
            <a:endParaRPr lang="fr-FR" sz="2800" dirty="0" smtClean="0"/>
          </a:p>
          <a:p>
            <a:pPr lvl="1">
              <a:buFont typeface="Wingdings" pitchFamily="2" charset="2"/>
              <a:buChar char="v"/>
            </a:pP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don’t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be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reluctant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to </a:t>
            </a:r>
            <a:r>
              <a:rPr lang="fr-FR" sz="1800" dirty="0" err="1" smtClean="0">
                <a:solidFill>
                  <a:schemeClr val="bg1">
                    <a:lumMod val="50000"/>
                  </a:schemeClr>
                </a:solidFill>
              </a:rPr>
              <a:t>try</a:t>
            </a:r>
            <a:r>
              <a:rPr lang="fr-F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800" dirty="0" err="1">
                <a:solidFill>
                  <a:schemeClr val="bg1">
                    <a:lumMod val="50000"/>
                  </a:schemeClr>
                </a:solidFill>
              </a:rPr>
              <a:t>something</a:t>
            </a:r>
            <a:r>
              <a:rPr lang="fr-FR" sz="1800" dirty="0">
                <a:solidFill>
                  <a:schemeClr val="bg1">
                    <a:lumMod val="50000"/>
                  </a:schemeClr>
                </a:solidFill>
              </a:rPr>
              <a:t> new</a:t>
            </a:r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  <a:p>
            <a:pPr>
              <a:buFont typeface="Wingdings" pitchFamily="2" charset="2"/>
              <a:buChar char="v"/>
            </a:pPr>
            <a:endParaRPr lang="fr-FR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sz="2400" dirty="0" smtClean="0"/>
          </a:p>
          <a:p>
            <a:r>
              <a:rPr lang="fr-FR" sz="2400" dirty="0" err="1" smtClean="0"/>
              <a:t>JetBrains</a:t>
            </a:r>
            <a:r>
              <a:rPr lang="fr-FR" sz="2400" dirty="0" smtClean="0"/>
              <a:t> </a:t>
            </a:r>
            <a:r>
              <a:rPr lang="fr-FR" sz="2400" dirty="0" err="1" smtClean="0"/>
              <a:t>Resharper</a:t>
            </a:r>
            <a:r>
              <a:rPr lang="fr-FR" sz="2400" dirty="0" smtClean="0"/>
              <a:t> (R#)</a:t>
            </a:r>
          </a:p>
          <a:p>
            <a:pPr lvl="1"/>
            <a:r>
              <a:rPr lang="fr-FR" sz="2000" dirty="0" err="1" smtClean="0"/>
              <a:t>Productivity</a:t>
            </a:r>
            <a:r>
              <a:rPr lang="fr-FR" sz="2000" dirty="0" smtClean="0"/>
              <a:t> </a:t>
            </a:r>
            <a:r>
              <a:rPr lang="fr-FR" sz="2000" dirty="0" err="1" smtClean="0"/>
              <a:t>tool</a:t>
            </a:r>
            <a:endParaRPr lang="fr-FR" sz="2000" dirty="0" smtClean="0"/>
          </a:p>
          <a:p>
            <a:pPr lvl="1"/>
            <a:r>
              <a:rPr lang="fr-FR" sz="2000" dirty="0" err="1" smtClean="0"/>
              <a:t>Third</a:t>
            </a:r>
            <a:r>
              <a:rPr lang="fr-FR" sz="2000" dirty="0" smtClean="0"/>
              <a:t> hand of the </a:t>
            </a:r>
            <a:r>
              <a:rPr lang="fr-FR" sz="2000" dirty="0" err="1" smtClean="0"/>
              <a:t>developer</a:t>
            </a:r>
            <a:endParaRPr lang="fr-FR" sz="2000" dirty="0" smtClean="0"/>
          </a:p>
          <a:p>
            <a:pPr lvl="1"/>
            <a:r>
              <a:rPr lang="fr-FR" sz="2000" dirty="0" smtClean="0"/>
              <a:t>Must have for </a:t>
            </a:r>
            <a:r>
              <a:rPr lang="fr-FR" sz="2000" dirty="0" err="1" smtClean="0"/>
              <a:t>safe</a:t>
            </a:r>
            <a:r>
              <a:rPr lang="fr-FR" sz="2000" dirty="0" smtClean="0"/>
              <a:t> </a:t>
            </a:r>
            <a:r>
              <a:rPr lang="fr-FR" sz="2000" dirty="0" err="1" smtClean="0"/>
              <a:t>refactoring</a:t>
            </a:r>
            <a:endParaRPr lang="fr-FR" sz="2000" dirty="0" smtClean="0"/>
          </a:p>
          <a:p>
            <a:endParaRPr lang="fr-FR" sz="2000" dirty="0"/>
          </a:p>
          <a:p>
            <a:endParaRPr lang="fr-FR" sz="2000" dirty="0" smtClean="0"/>
          </a:p>
          <a:p>
            <a:r>
              <a:rPr lang="fr-FR" sz="2400" dirty="0" err="1" smtClean="0"/>
              <a:t>Ncrunch</a:t>
            </a:r>
            <a:endParaRPr lang="fr-FR" sz="2400" dirty="0" smtClean="0"/>
          </a:p>
          <a:p>
            <a:pPr lvl="1"/>
            <a:r>
              <a:rPr lang="fr-FR" sz="2000" dirty="0" err="1" smtClean="0"/>
              <a:t>Continuous</a:t>
            </a:r>
            <a:r>
              <a:rPr lang="fr-FR" sz="2000" dirty="0" smtClean="0"/>
              <a:t> </a:t>
            </a:r>
            <a:r>
              <a:rPr lang="fr-FR" sz="2000" dirty="0" err="1" smtClean="0"/>
              <a:t>testing</a:t>
            </a:r>
            <a:r>
              <a:rPr lang="fr-FR" sz="2000" dirty="0" smtClean="0"/>
              <a:t> </a:t>
            </a:r>
            <a:r>
              <a:rPr lang="fr-FR" sz="2000" dirty="0" err="1" smtClean="0"/>
              <a:t>tool</a:t>
            </a:r>
            <a:endParaRPr lang="fr-FR" sz="2000" dirty="0" smtClean="0"/>
          </a:p>
          <a:p>
            <a:pPr lvl="1"/>
            <a:r>
              <a:rPr lang="fr-FR" sz="2000" dirty="0" err="1" smtClean="0"/>
              <a:t>Increase</a:t>
            </a:r>
            <a:r>
              <a:rPr lang="fr-FR" sz="2000" dirty="0" smtClean="0"/>
              <a:t> speed and feedback of unit </a:t>
            </a:r>
            <a:r>
              <a:rPr lang="fr-FR" sz="2000" dirty="0" err="1" smtClean="0"/>
              <a:t>testing</a:t>
            </a:r>
            <a:endParaRPr lang="fr-FR" sz="2000" dirty="0" smtClean="0"/>
          </a:p>
          <a:p>
            <a:pPr lvl="1"/>
            <a:r>
              <a:rPr lang="fr-FR" sz="2000" dirty="0" smtClean="0"/>
              <a:t>TDD </a:t>
            </a:r>
            <a:r>
              <a:rPr lang="fr-FR" sz="2000" dirty="0" err="1" smtClean="0"/>
              <a:t>without</a:t>
            </a:r>
            <a:r>
              <a:rPr lang="fr-FR" sz="2000" dirty="0" smtClean="0"/>
              <a:t> </a:t>
            </a:r>
            <a:r>
              <a:rPr lang="fr-FR" sz="2000" dirty="0" err="1" smtClean="0"/>
              <a:t>knowing</a:t>
            </a:r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204864"/>
            <a:ext cx="2481481" cy="17796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65313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fr-FR" sz="2400" dirty="0" smtClean="0"/>
          </a:p>
          <a:p>
            <a:r>
              <a:rPr lang="fr-FR" sz="2400" dirty="0"/>
              <a:t>Talk</a:t>
            </a:r>
          </a:p>
          <a:p>
            <a:r>
              <a:rPr lang="fr-FR" sz="2400" dirty="0" smtClean="0"/>
              <a:t>Baby </a:t>
            </a:r>
            <a:r>
              <a:rPr lang="fr-FR" sz="2400" dirty="0" err="1" smtClean="0"/>
              <a:t>steps</a:t>
            </a:r>
            <a:endParaRPr lang="fr-FR" sz="2400" dirty="0" smtClean="0"/>
          </a:p>
          <a:p>
            <a:r>
              <a:rPr lang="fr-FR" sz="2400" dirty="0" err="1" smtClean="0"/>
              <a:t>Red</a:t>
            </a:r>
            <a:r>
              <a:rPr lang="fr-FR" sz="2400" dirty="0" smtClean="0"/>
              <a:t> Green </a:t>
            </a:r>
            <a:r>
              <a:rPr lang="fr-FR" sz="2400" dirty="0" err="1" smtClean="0"/>
              <a:t>Refactor</a:t>
            </a:r>
            <a:endParaRPr lang="fr-FR" sz="2400" dirty="0" smtClean="0"/>
          </a:p>
          <a:p>
            <a:endParaRPr lang="fr-FR" sz="2400" dirty="0"/>
          </a:p>
          <a:p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ip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/>
            </a:r>
            <a:br>
              <a:rPr lang="fr-FR" sz="1800" dirty="0"/>
            </a:br>
            <a:endParaRPr lang="fr-FR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2400" dirty="0" smtClean="0"/>
          </a:p>
          <a:p>
            <a:r>
              <a:rPr lang="fr-FR" sz="2400" dirty="0" smtClean="0"/>
              <a:t>Talk</a:t>
            </a:r>
          </a:p>
          <a:p>
            <a:r>
              <a:rPr lang="fr-FR" sz="2400" dirty="0" smtClean="0"/>
              <a:t>Switch pilot as </a:t>
            </a:r>
            <a:r>
              <a:rPr lang="fr-FR" sz="2400" dirty="0" err="1" smtClean="0"/>
              <a:t>much</a:t>
            </a:r>
            <a:r>
              <a:rPr lang="fr-FR" sz="2400" dirty="0" smtClean="0"/>
              <a:t> as possible</a:t>
            </a:r>
          </a:p>
          <a:p>
            <a:endParaRPr lang="fr-FR" sz="2400" dirty="0" smtClean="0"/>
          </a:p>
          <a:p>
            <a:r>
              <a:rPr lang="fr-FR" sz="2400" dirty="0" smtClean="0"/>
              <a:t>(</a:t>
            </a:r>
            <a:r>
              <a:rPr lang="fr-FR" sz="2400" dirty="0" err="1" smtClean="0"/>
              <a:t>Listen</a:t>
            </a:r>
            <a:r>
              <a:rPr lang="fr-FR" sz="2400" dirty="0" smtClean="0"/>
              <a:t>)</a:t>
            </a:r>
          </a:p>
          <a:p>
            <a:endParaRPr lang="fr-FR" sz="2400" dirty="0" smtClean="0"/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WELCOME TO</a:t>
            </a:r>
            <a:endParaRPr lang="en-GB" dirty="0"/>
          </a:p>
        </p:txBody>
      </p:sp>
      <p:pic>
        <p:nvPicPr>
          <p:cNvPr id="6146" name="Picture 2" descr="Afficher l'image d'orig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1988840"/>
            <a:ext cx="5715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4012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4464496"/>
          </a:xfrm>
        </p:spPr>
        <p:txBody>
          <a:bodyPr/>
          <a:lstStyle/>
          <a:p>
            <a:endParaRPr lang="fr-FR" dirty="0" smtClean="0"/>
          </a:p>
          <a:p>
            <a:r>
              <a:rPr lang="fr-FR" dirty="0" smtClean="0"/>
              <a:t>The boss </a:t>
            </a:r>
            <a:r>
              <a:rPr lang="fr-FR" dirty="0" err="1" smtClean="0"/>
              <a:t>saw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play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game</a:t>
            </a:r>
            <a:r>
              <a:rPr lang="fr-FR" dirty="0" smtClean="0"/>
              <a:t>. </a:t>
            </a:r>
          </a:p>
          <a:p>
            <a:endParaRPr lang="fr-FR" dirty="0" smtClean="0"/>
          </a:p>
          <a:p>
            <a:r>
              <a:rPr lang="fr-FR" dirty="0" smtClean="0"/>
              <a:t>Due to the </a:t>
            </a:r>
            <a:r>
              <a:rPr lang="fr-FR" dirty="0" err="1" smtClean="0"/>
              <a:t>success</a:t>
            </a:r>
            <a:r>
              <a:rPr lang="fr-FR" dirty="0" smtClean="0"/>
              <a:t> </a:t>
            </a:r>
            <a:r>
              <a:rPr lang="fr-FR" dirty="0" err="1" smtClean="0"/>
              <a:t>they</a:t>
            </a:r>
            <a:r>
              <a:rPr lang="fr-FR" dirty="0" smtClean="0"/>
              <a:t> </a:t>
            </a:r>
            <a:r>
              <a:rPr lang="fr-FR" dirty="0" err="1" smtClean="0"/>
              <a:t>want</a:t>
            </a:r>
            <a:r>
              <a:rPr lang="fr-FR" dirty="0" smtClean="0"/>
              <a:t> to </a:t>
            </a:r>
            <a:r>
              <a:rPr lang="fr-FR" dirty="0" err="1" smtClean="0"/>
              <a:t>make</a:t>
            </a:r>
            <a:r>
              <a:rPr lang="fr-FR" dirty="0" smtClean="0"/>
              <a:t> </a:t>
            </a:r>
            <a:r>
              <a:rPr lang="fr-FR" dirty="0" err="1" smtClean="0"/>
              <a:t>their</a:t>
            </a:r>
            <a:r>
              <a:rPr lang="fr-FR" dirty="0" smtClean="0"/>
              <a:t> </a:t>
            </a:r>
            <a:r>
              <a:rPr lang="fr-FR" dirty="0" err="1" smtClean="0"/>
              <a:t>own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game</a:t>
            </a:r>
            <a:r>
              <a:rPr lang="fr-FR" dirty="0" smtClean="0"/>
              <a:t> to </a:t>
            </a:r>
            <a:r>
              <a:rPr lang="fr-FR" dirty="0" err="1" smtClean="0"/>
              <a:t>sell</a:t>
            </a:r>
            <a:r>
              <a:rPr lang="fr-FR" dirty="0" smtClean="0"/>
              <a:t> to the costumer.</a:t>
            </a:r>
          </a:p>
          <a:p>
            <a:endParaRPr lang="fr-FR" dirty="0" smtClean="0"/>
          </a:p>
          <a:p>
            <a:r>
              <a:rPr lang="fr-FR" dirty="0" smtClean="0"/>
              <a:t>So </a:t>
            </a:r>
            <a:r>
              <a:rPr lang="fr-FR" dirty="0" err="1" smtClean="0"/>
              <a:t>they</a:t>
            </a:r>
            <a:r>
              <a:rPr lang="fr-FR" dirty="0" smtClean="0"/>
              <a:t> </a:t>
            </a:r>
            <a:r>
              <a:rPr lang="fr-FR" dirty="0" err="1" smtClean="0"/>
              <a:t>choose</a:t>
            </a:r>
            <a:r>
              <a:rPr lang="fr-FR" dirty="0" smtClean="0"/>
              <a:t> to copy, the </a:t>
            </a:r>
            <a:r>
              <a:rPr lang="fr-FR" dirty="0" err="1" smtClean="0"/>
              <a:t>most</a:t>
            </a:r>
            <a:r>
              <a:rPr lang="fr-FR" dirty="0" smtClean="0"/>
              <a:t> </a:t>
            </a:r>
            <a:r>
              <a:rPr lang="fr-FR" dirty="0" err="1" smtClean="0"/>
              <a:t>successfull</a:t>
            </a:r>
            <a:r>
              <a:rPr lang="fr-FR" dirty="0" smtClean="0"/>
              <a:t>,</a:t>
            </a:r>
            <a:br>
              <a:rPr lang="fr-FR" dirty="0" smtClean="0"/>
            </a:br>
            <a:r>
              <a:rPr lang="fr-FR" dirty="0" smtClean="0"/>
              <a:t>intelligent, </a:t>
            </a:r>
            <a:r>
              <a:rPr lang="fr-FR" dirty="0" err="1" smtClean="0"/>
              <a:t>strategic</a:t>
            </a:r>
            <a:r>
              <a:rPr lang="fr-FR" dirty="0" smtClean="0"/>
              <a:t>, fun and </a:t>
            </a:r>
            <a:r>
              <a:rPr lang="fr-FR" dirty="0" err="1" smtClean="0"/>
              <a:t>awesome</a:t>
            </a:r>
            <a:r>
              <a:rPr lang="fr-FR" dirty="0" smtClean="0"/>
              <a:t> trading</a:t>
            </a:r>
            <a:br>
              <a:rPr lang="fr-FR" dirty="0" smtClean="0"/>
            </a:b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game</a:t>
            </a:r>
            <a:r>
              <a:rPr lang="fr-FR" dirty="0" smtClean="0"/>
              <a:t> of all time : </a:t>
            </a:r>
            <a:r>
              <a:rPr lang="fr-FR" dirty="0" err="1" smtClean="0"/>
              <a:t>Magic</a:t>
            </a:r>
            <a:r>
              <a:rPr lang="fr-FR" dirty="0" smtClean="0"/>
              <a:t>!</a:t>
            </a:r>
          </a:p>
          <a:p>
            <a:endParaRPr lang="fr-FR" dirty="0" smtClean="0"/>
          </a:p>
          <a:p>
            <a:r>
              <a:rPr lang="fr-FR" dirty="0" err="1" smtClean="0"/>
              <a:t>Hopefully</a:t>
            </a:r>
            <a:r>
              <a:rPr lang="fr-FR" dirty="0" smtClean="0"/>
              <a:t> </a:t>
            </a:r>
            <a:r>
              <a:rPr lang="fr-FR" dirty="0" err="1" smtClean="0"/>
              <a:t>we</a:t>
            </a:r>
            <a:r>
              <a:rPr lang="fr-FR" dirty="0" smtClean="0"/>
              <a:t> are </a:t>
            </a:r>
            <a:r>
              <a:rPr lang="fr-FR" dirty="0" err="1" smtClean="0"/>
              <a:t>Hackerz</a:t>
            </a:r>
            <a:r>
              <a:rPr lang="fr-FR" dirty="0" smtClean="0"/>
              <a:t> </a:t>
            </a:r>
            <a:r>
              <a:rPr lang="fr-FR" dirty="0" err="1" smtClean="0"/>
              <a:t>so</a:t>
            </a:r>
            <a:r>
              <a:rPr lang="fr-FR" dirty="0" smtClean="0"/>
              <a:t> </a:t>
            </a:r>
            <a:r>
              <a:rPr lang="fr-FR" dirty="0" err="1" smtClean="0"/>
              <a:t>we</a:t>
            </a:r>
            <a:r>
              <a:rPr lang="fr-FR" dirty="0" smtClean="0"/>
              <a:t> hack the </a:t>
            </a:r>
            <a:r>
              <a:rPr lang="fr-FR" dirty="0" err="1" smtClean="0"/>
              <a:t>game</a:t>
            </a:r>
            <a:r>
              <a:rPr lang="fr-FR" dirty="0" smtClean="0"/>
              <a:t> but due to a </a:t>
            </a:r>
            <a:r>
              <a:rPr lang="fr-FR" dirty="0" err="1" smtClean="0"/>
              <a:t>tfs</a:t>
            </a:r>
            <a:r>
              <a:rPr lang="fr-FR" dirty="0" smtClean="0"/>
              <a:t> </a:t>
            </a:r>
            <a:r>
              <a:rPr lang="fr-FR" dirty="0" err="1" smtClean="0"/>
              <a:t>merge</a:t>
            </a:r>
            <a:r>
              <a:rPr lang="fr-FR" dirty="0" smtClean="0"/>
              <a:t> issue </a:t>
            </a:r>
            <a:r>
              <a:rPr lang="fr-FR" dirty="0" err="1" smtClean="0"/>
              <a:t>we</a:t>
            </a:r>
            <a:r>
              <a:rPr lang="fr-FR" dirty="0" smtClean="0"/>
              <a:t> </a:t>
            </a:r>
            <a:r>
              <a:rPr lang="fr-FR" dirty="0" err="1" smtClean="0"/>
              <a:t>broke</a:t>
            </a:r>
            <a:r>
              <a:rPr lang="fr-FR" dirty="0" smtClean="0"/>
              <a:t> </a:t>
            </a:r>
            <a:r>
              <a:rPr lang="fr-FR" dirty="0" err="1" smtClean="0"/>
              <a:t>everything</a:t>
            </a:r>
            <a:r>
              <a:rPr lang="fr-FR" dirty="0" smtClean="0"/>
              <a:t> in the </a:t>
            </a:r>
            <a:r>
              <a:rPr lang="fr-FR" dirty="0" err="1" smtClean="0"/>
              <a:t>process</a:t>
            </a:r>
            <a:r>
              <a:rPr lang="fr-FR" dirty="0" smtClean="0"/>
              <a:t>… So </a:t>
            </a:r>
            <a:r>
              <a:rPr lang="fr-FR" dirty="0" err="1" smtClean="0"/>
              <a:t>you</a:t>
            </a:r>
            <a:r>
              <a:rPr lang="fr-FR" dirty="0" smtClean="0"/>
              <a:t> have to </a:t>
            </a:r>
            <a:r>
              <a:rPr lang="fr-FR" dirty="0" err="1" smtClean="0"/>
              <a:t>rebuild</a:t>
            </a:r>
            <a:r>
              <a:rPr lang="fr-FR" dirty="0" smtClean="0"/>
              <a:t> </a:t>
            </a:r>
            <a:r>
              <a:rPr lang="fr-FR" dirty="0" err="1" smtClean="0"/>
              <a:t>it</a:t>
            </a:r>
            <a:r>
              <a:rPr lang="fr-FR" dirty="0" smtClean="0"/>
              <a:t> and </a:t>
            </a:r>
            <a:r>
              <a:rPr lang="fr-FR" dirty="0" err="1" smtClean="0"/>
              <a:t>improve</a:t>
            </a:r>
            <a:r>
              <a:rPr lang="fr-FR" dirty="0" smtClean="0"/>
              <a:t> </a:t>
            </a:r>
            <a:r>
              <a:rPr lang="fr-FR" dirty="0" err="1" smtClean="0"/>
              <a:t>it</a:t>
            </a:r>
            <a:r>
              <a:rPr lang="fr-FR" dirty="0" smtClean="0"/>
              <a:t> !</a:t>
            </a:r>
          </a:p>
          <a:p>
            <a:pPr lvl="4"/>
            <a:endParaRPr lang="fr-FR" dirty="0"/>
          </a:p>
          <a:p>
            <a:pPr lvl="1"/>
            <a:endParaRPr lang="fr-FR" dirty="0" smtClean="0"/>
          </a:p>
          <a:p>
            <a:r>
              <a:rPr lang="fr-FR" dirty="0" smtClean="0"/>
              <a:t>For the people living in the a cave </a:t>
            </a:r>
            <a:r>
              <a:rPr lang="fr-FR" dirty="0"/>
              <a:t>: </a:t>
            </a:r>
            <a:r>
              <a:rPr lang="fr-FR" dirty="0" smtClean="0">
                <a:hlinkClick r:id="rId2"/>
              </a:rPr>
              <a:t>https</a:t>
            </a:r>
            <a:r>
              <a:rPr lang="fr-FR" dirty="0">
                <a:hlinkClick r:id="rId2"/>
              </a:rPr>
              <a:t>://fr.wikipedia.org/wiki/Hearthstone:_Heroes_of_Warcraft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207122"/>
            <a:ext cx="5940152" cy="782960"/>
          </a:xfrm>
        </p:spPr>
        <p:txBody>
          <a:bodyPr/>
          <a:lstStyle/>
          <a:p>
            <a:r>
              <a:rPr lang="fr-FR" sz="3600" dirty="0" smtClean="0"/>
              <a:t>Trading </a:t>
            </a:r>
            <a:r>
              <a:rPr lang="fr-FR" sz="3600" dirty="0" err="1" smtClean="0"/>
              <a:t>Card</a:t>
            </a:r>
            <a:r>
              <a:rPr lang="fr-FR" sz="3600" dirty="0" smtClean="0"/>
              <a:t> Game</a:t>
            </a:r>
            <a:endParaRPr lang="fr-FR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3478" y="3642850"/>
            <a:ext cx="2060796" cy="1275515"/>
          </a:xfrm>
          <a:prstGeom prst="rect">
            <a:avLst/>
          </a:prstGeom>
        </p:spPr>
      </p:pic>
      <p:pic>
        <p:nvPicPr>
          <p:cNvPr id="3076" name="Picture 4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0696" y="4280607"/>
            <a:ext cx="699210" cy="7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796468"/>
            <a:ext cx="2190774" cy="2190774"/>
          </a:xfrm>
          <a:prstGeom prst="rect">
            <a:avLst/>
          </a:prstGeom>
        </p:spPr>
      </p:pic>
      <p:pic>
        <p:nvPicPr>
          <p:cNvPr id="3084" name="Picture 12" descr="Afficher l'image d'origin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752" y="6059379"/>
            <a:ext cx="140164" cy="140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 descr="Afficher l'image d'origin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103" y="6007710"/>
            <a:ext cx="393101" cy="191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necteur droit avec flèche 12"/>
          <p:cNvCxnSpPr/>
          <p:nvPr/>
        </p:nvCxnSpPr>
        <p:spPr>
          <a:xfrm>
            <a:off x="6742479" y="6129461"/>
            <a:ext cx="58109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44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fr-FR" dirty="0" smtClean="0"/>
              <a:t>The </a:t>
            </a:r>
            <a:r>
              <a:rPr lang="fr-FR" dirty="0" err="1" smtClean="0"/>
              <a:t>rules</a:t>
            </a:r>
            <a:r>
              <a:rPr lang="fr-FR" dirty="0" smtClean="0"/>
              <a:t> :</a:t>
            </a:r>
          </a:p>
          <a:p>
            <a:pPr lvl="1"/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player</a:t>
            </a:r>
            <a:r>
              <a:rPr lang="fr-FR" dirty="0" smtClean="0"/>
              <a:t> have </a:t>
            </a:r>
            <a:r>
              <a:rPr lang="fr-FR" dirty="0" smtClean="0">
                <a:solidFill>
                  <a:srgbClr val="FF0000"/>
                </a:solidFill>
              </a:rPr>
              <a:t>30 life </a:t>
            </a:r>
            <a:r>
              <a:rPr lang="fr-FR" dirty="0" smtClean="0"/>
              <a:t>points</a:t>
            </a:r>
          </a:p>
          <a:p>
            <a:pPr lvl="1"/>
            <a:r>
              <a:rPr lang="fr-FR" dirty="0" err="1" smtClean="0"/>
              <a:t>When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opponent</a:t>
            </a:r>
            <a:r>
              <a:rPr lang="fr-FR" dirty="0" smtClean="0"/>
              <a:t> </a:t>
            </a:r>
            <a:r>
              <a:rPr lang="fr-FR" dirty="0" err="1" smtClean="0"/>
              <a:t>player</a:t>
            </a:r>
            <a:r>
              <a:rPr lang="fr-FR" dirty="0" smtClean="0"/>
              <a:t> </a:t>
            </a:r>
            <a:r>
              <a:rPr lang="fr-FR" dirty="0" err="1" smtClean="0"/>
              <a:t>reach</a:t>
            </a:r>
            <a:r>
              <a:rPr lang="fr-FR" dirty="0" smtClean="0"/>
              <a:t> 0 point </a:t>
            </a:r>
            <a:r>
              <a:rPr lang="fr-FR" dirty="0" err="1" smtClean="0">
                <a:solidFill>
                  <a:srgbClr val="00B050"/>
                </a:solidFill>
              </a:rPr>
              <a:t>you</a:t>
            </a:r>
            <a:r>
              <a:rPr lang="fr-FR" dirty="0" smtClean="0">
                <a:solidFill>
                  <a:srgbClr val="00B050"/>
                </a:solidFill>
              </a:rPr>
              <a:t> </a:t>
            </a:r>
            <a:r>
              <a:rPr lang="fr-FR" dirty="0" err="1" smtClean="0">
                <a:solidFill>
                  <a:srgbClr val="00B050"/>
                </a:solidFill>
              </a:rPr>
              <a:t>win</a:t>
            </a:r>
            <a:r>
              <a:rPr lang="fr-FR" dirty="0" smtClean="0">
                <a:solidFill>
                  <a:srgbClr val="00B050"/>
                </a:solidFill>
              </a:rPr>
              <a:t> </a:t>
            </a:r>
            <a:r>
              <a:rPr lang="fr-FR" dirty="0" smtClean="0"/>
              <a:t>!</a:t>
            </a:r>
            <a:br>
              <a:rPr lang="fr-FR" dirty="0" smtClean="0"/>
            </a:br>
            <a:r>
              <a:rPr lang="fr-FR" dirty="0" smtClean="0"/>
              <a:t>If </a:t>
            </a:r>
            <a:r>
              <a:rPr lang="fr-FR" dirty="0" err="1" smtClean="0"/>
              <a:t>you</a:t>
            </a:r>
            <a:r>
              <a:rPr lang="fr-FR" dirty="0" smtClean="0"/>
              <a:t> drop </a:t>
            </a:r>
            <a:r>
              <a:rPr lang="fr-FR" dirty="0" err="1" smtClean="0"/>
              <a:t>below</a:t>
            </a:r>
            <a:r>
              <a:rPr lang="fr-FR" dirty="0" smtClean="0"/>
              <a:t> 0 </a:t>
            </a:r>
            <a:r>
              <a:rPr lang="fr-FR" dirty="0" err="1" smtClean="0">
                <a:solidFill>
                  <a:srgbClr val="C00000"/>
                </a:solidFill>
              </a:rPr>
              <a:t>you</a:t>
            </a:r>
            <a:r>
              <a:rPr lang="fr-FR" dirty="0" smtClean="0">
                <a:solidFill>
                  <a:srgbClr val="C00000"/>
                </a:solidFill>
              </a:rPr>
              <a:t> </a:t>
            </a:r>
            <a:r>
              <a:rPr lang="fr-FR" dirty="0" err="1" smtClean="0">
                <a:solidFill>
                  <a:srgbClr val="C00000"/>
                </a:solidFill>
              </a:rPr>
              <a:t>loose</a:t>
            </a:r>
            <a:r>
              <a:rPr lang="fr-FR" dirty="0" smtClean="0">
                <a:solidFill>
                  <a:srgbClr val="C00000"/>
                </a:solidFill>
              </a:rPr>
              <a:t> </a:t>
            </a:r>
            <a:r>
              <a:rPr lang="fr-FR" dirty="0" smtClean="0"/>
              <a:t>!</a:t>
            </a:r>
          </a:p>
          <a:p>
            <a:pPr lvl="1"/>
            <a:r>
              <a:rPr lang="fr-FR" dirty="0" smtClean="0"/>
              <a:t>You </a:t>
            </a:r>
            <a:r>
              <a:rPr lang="fr-FR" dirty="0" err="1" smtClean="0"/>
              <a:t>start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smtClean="0">
                <a:solidFill>
                  <a:srgbClr val="0070C0"/>
                </a:solidFill>
              </a:rPr>
              <a:t>mana pool at 1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>
                <a:solidFill>
                  <a:srgbClr val="0070C0"/>
                </a:solidFill>
              </a:rPr>
              <a:t>your</a:t>
            </a:r>
            <a:r>
              <a:rPr lang="fr-FR" dirty="0" smtClean="0">
                <a:solidFill>
                  <a:srgbClr val="0070C0"/>
                </a:solidFill>
              </a:rPr>
              <a:t> mana</a:t>
            </a:r>
            <a:br>
              <a:rPr lang="fr-FR" dirty="0" smtClean="0">
                <a:solidFill>
                  <a:srgbClr val="0070C0"/>
                </a:solidFill>
              </a:rPr>
            </a:br>
            <a:r>
              <a:rPr lang="fr-FR" dirty="0" smtClean="0">
                <a:solidFill>
                  <a:srgbClr val="0070C0"/>
                </a:solidFill>
              </a:rPr>
              <a:t>pool </a:t>
            </a:r>
            <a:r>
              <a:rPr lang="fr-FR" dirty="0" err="1" smtClean="0">
                <a:solidFill>
                  <a:srgbClr val="0070C0"/>
                </a:solidFill>
              </a:rPr>
              <a:t>increase</a:t>
            </a:r>
            <a:r>
              <a:rPr lang="fr-FR" dirty="0" smtClean="0">
                <a:solidFill>
                  <a:srgbClr val="0070C0"/>
                </a:solidFill>
              </a:rPr>
              <a:t> by one</a:t>
            </a:r>
          </a:p>
          <a:p>
            <a:pPr lvl="1"/>
            <a:r>
              <a:rPr lang="fr-FR" dirty="0" err="1" smtClean="0"/>
              <a:t>Whe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play</a:t>
            </a:r>
            <a:r>
              <a:rPr lang="fr-FR" dirty="0" smtClean="0"/>
              <a:t> a </a:t>
            </a:r>
            <a:r>
              <a:rPr lang="fr-FR" dirty="0" err="1" smtClean="0"/>
              <a:t>card</a:t>
            </a:r>
            <a:r>
              <a:rPr lang="fr-FR" dirty="0" smtClean="0"/>
              <a:t> the </a:t>
            </a:r>
            <a:r>
              <a:rPr lang="fr-FR" dirty="0" err="1" smtClean="0"/>
              <a:t>cost</a:t>
            </a:r>
            <a:r>
              <a:rPr lang="fr-FR" dirty="0" smtClean="0"/>
              <a:t> of the </a:t>
            </a:r>
            <a:r>
              <a:rPr lang="fr-FR" dirty="0" err="1" smtClean="0"/>
              <a:t>card</a:t>
            </a:r>
            <a:r>
              <a:rPr lang="fr-FR" dirty="0" smtClean="0"/>
              <a:t> consume </a:t>
            </a:r>
            <a:r>
              <a:rPr lang="fr-FR" dirty="0" err="1" smtClean="0"/>
              <a:t>your</a:t>
            </a:r>
            <a:r>
              <a:rPr lang="fr-FR" dirty="0" smtClean="0"/>
              <a:t> mana. You mana </a:t>
            </a:r>
            <a:r>
              <a:rPr lang="fr-FR" dirty="0" err="1" smtClean="0"/>
              <a:t>is</a:t>
            </a:r>
            <a:r>
              <a:rPr lang="fr-FR" dirty="0" smtClean="0"/>
              <a:t> </a:t>
            </a:r>
            <a:r>
              <a:rPr lang="fr-FR" dirty="0" err="1" smtClean="0"/>
              <a:t>refill</a:t>
            </a:r>
            <a:r>
              <a:rPr lang="fr-FR" dirty="0" smtClean="0"/>
              <a:t>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(and mana pool </a:t>
            </a:r>
            <a:r>
              <a:rPr lang="fr-FR" dirty="0" err="1" smtClean="0"/>
              <a:t>increase</a:t>
            </a:r>
            <a:r>
              <a:rPr lang="fr-FR" dirty="0" smtClean="0"/>
              <a:t> by 1)</a:t>
            </a:r>
          </a:p>
          <a:p>
            <a:pPr lvl="1"/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can</a:t>
            </a:r>
            <a:r>
              <a:rPr lang="fr-FR" dirty="0"/>
              <a:t> </a:t>
            </a:r>
            <a:r>
              <a:rPr lang="fr-FR" dirty="0" err="1" smtClean="0"/>
              <a:t>play</a:t>
            </a:r>
            <a:r>
              <a:rPr lang="fr-FR" dirty="0" smtClean="0"/>
              <a:t> as </a:t>
            </a:r>
            <a:r>
              <a:rPr lang="fr-FR" dirty="0" err="1" smtClean="0"/>
              <a:t>many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as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want</a:t>
            </a:r>
            <a:r>
              <a:rPr lang="fr-FR" dirty="0" smtClean="0"/>
              <a:t> as long as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don’t</a:t>
            </a:r>
            <a:r>
              <a:rPr lang="fr-FR" dirty="0" smtClean="0"/>
              <a:t> cross the mana pool </a:t>
            </a:r>
            <a:r>
              <a:rPr lang="fr-FR" dirty="0" err="1" smtClean="0"/>
              <a:t>limit</a:t>
            </a:r>
            <a:r>
              <a:rPr lang="fr-FR" dirty="0" smtClean="0"/>
              <a:t>.</a:t>
            </a:r>
          </a:p>
          <a:p>
            <a:pPr lvl="1"/>
            <a:r>
              <a:rPr lang="fr-FR" dirty="0" smtClean="0"/>
              <a:t>You have 2 type of </a:t>
            </a:r>
            <a:r>
              <a:rPr lang="fr-FR" dirty="0" err="1" smtClean="0"/>
              <a:t>card</a:t>
            </a:r>
            <a:r>
              <a:rPr lang="fr-FR" dirty="0" smtClean="0"/>
              <a:t>. </a:t>
            </a:r>
            <a:r>
              <a:rPr lang="fr-FR" dirty="0" smtClean="0">
                <a:solidFill>
                  <a:srgbClr val="C00000"/>
                </a:solidFill>
              </a:rPr>
              <a:t>Attack</a:t>
            </a:r>
            <a:r>
              <a:rPr lang="fr-FR" dirty="0" smtClean="0"/>
              <a:t> and </a:t>
            </a:r>
            <a:r>
              <a:rPr lang="fr-FR" dirty="0" smtClean="0">
                <a:solidFill>
                  <a:srgbClr val="00B050"/>
                </a:solidFill>
              </a:rPr>
              <a:t>Heal</a:t>
            </a:r>
            <a:r>
              <a:rPr lang="fr-FR" dirty="0" smtClean="0"/>
              <a:t>. The </a:t>
            </a:r>
            <a:r>
              <a:rPr lang="fr-FR" dirty="0" err="1" smtClean="0"/>
              <a:t>attack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deal the </a:t>
            </a:r>
            <a:r>
              <a:rPr lang="fr-FR" b="1" u="sng" dirty="0" err="1" smtClean="0"/>
              <a:t>same</a:t>
            </a:r>
            <a:r>
              <a:rPr lang="fr-FR" b="1" u="sng" dirty="0" smtClean="0"/>
              <a:t> </a:t>
            </a:r>
            <a:r>
              <a:rPr lang="fr-FR" b="1" u="sng" dirty="0" err="1" smtClean="0"/>
              <a:t>amount</a:t>
            </a:r>
            <a:r>
              <a:rPr lang="fr-FR" b="1" u="sng" dirty="0" smtClean="0"/>
              <a:t> as the </a:t>
            </a:r>
            <a:r>
              <a:rPr lang="fr-FR" b="1" u="sng" dirty="0" err="1" smtClean="0"/>
              <a:t>cost</a:t>
            </a:r>
            <a:r>
              <a:rPr lang="fr-FR" b="1" u="sng" dirty="0" smtClean="0"/>
              <a:t> of the </a:t>
            </a:r>
            <a:r>
              <a:rPr lang="fr-FR" b="1" u="sng" dirty="0" err="1" smtClean="0"/>
              <a:t>card</a:t>
            </a:r>
            <a:r>
              <a:rPr lang="fr-FR" dirty="0" smtClean="0"/>
              <a:t> and the </a:t>
            </a:r>
            <a:r>
              <a:rPr lang="fr-FR" dirty="0" err="1" smtClean="0"/>
              <a:t>heal</a:t>
            </a:r>
            <a:r>
              <a:rPr lang="fr-FR" dirty="0" smtClean="0"/>
              <a:t>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heal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by 3 points.</a:t>
            </a:r>
          </a:p>
          <a:p>
            <a:pPr lvl="1"/>
            <a:r>
              <a:rPr lang="fr-FR" dirty="0" smtClean="0"/>
              <a:t> You </a:t>
            </a:r>
            <a:r>
              <a:rPr lang="fr-FR" dirty="0" err="1" smtClean="0"/>
              <a:t>start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20 </a:t>
            </a:r>
            <a:r>
              <a:rPr lang="fr-FR" dirty="0" err="1" smtClean="0"/>
              <a:t>card</a:t>
            </a:r>
            <a:r>
              <a:rPr lang="fr-FR" dirty="0" smtClean="0"/>
              <a:t> in Deck and </a:t>
            </a:r>
            <a:r>
              <a:rPr lang="fr-FR" dirty="0" err="1" smtClean="0"/>
              <a:t>draw</a:t>
            </a:r>
            <a:r>
              <a:rPr lang="fr-FR" dirty="0" smtClean="0"/>
              <a:t> 3 </a:t>
            </a:r>
            <a:r>
              <a:rPr lang="fr-FR" dirty="0" err="1" smtClean="0"/>
              <a:t>card</a:t>
            </a:r>
            <a:r>
              <a:rPr lang="fr-FR" dirty="0" smtClean="0"/>
              <a:t> to </a:t>
            </a:r>
            <a:r>
              <a:rPr lang="fr-FR" dirty="0" err="1" smtClean="0"/>
              <a:t>your</a:t>
            </a:r>
            <a:r>
              <a:rPr lang="fr-FR" dirty="0" smtClean="0"/>
              <a:t> hand. </a:t>
            </a:r>
            <a:r>
              <a:rPr lang="fr-FR" dirty="0" err="1" smtClean="0"/>
              <a:t>Each</a:t>
            </a:r>
            <a:r>
              <a:rPr lang="fr-FR" dirty="0" smtClean="0"/>
              <a:t> </a:t>
            </a:r>
            <a:r>
              <a:rPr lang="fr-FR" dirty="0" err="1" smtClean="0"/>
              <a:t>turn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/>
              <a:t> </a:t>
            </a:r>
            <a:r>
              <a:rPr lang="fr-FR" dirty="0" err="1" smtClean="0"/>
              <a:t>draw</a:t>
            </a:r>
            <a:r>
              <a:rPr lang="fr-FR" dirty="0" smtClean="0"/>
              <a:t> a </a:t>
            </a:r>
            <a:r>
              <a:rPr lang="fr-FR" dirty="0" err="1" smtClean="0"/>
              <a:t>card</a:t>
            </a:r>
            <a:r>
              <a:rPr lang="fr-FR" dirty="0" smtClean="0"/>
              <a:t> </a:t>
            </a:r>
            <a:r>
              <a:rPr lang="fr-FR" dirty="0" err="1" smtClean="0"/>
              <a:t>from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deck</a:t>
            </a:r>
            <a:r>
              <a:rPr lang="fr-FR" dirty="0" smtClean="0"/>
              <a:t> to </a:t>
            </a:r>
            <a:r>
              <a:rPr lang="fr-FR" dirty="0" err="1" smtClean="0"/>
              <a:t>your</a:t>
            </a:r>
            <a:r>
              <a:rPr lang="fr-FR" dirty="0" smtClean="0"/>
              <a:t> hand and if </a:t>
            </a:r>
            <a:r>
              <a:rPr lang="fr-FR" dirty="0" err="1" smtClean="0"/>
              <a:t>you</a:t>
            </a:r>
            <a:r>
              <a:rPr lang="fr-FR" dirty="0" smtClean="0"/>
              <a:t> have </a:t>
            </a:r>
            <a:r>
              <a:rPr lang="fr-FR" u="sng" dirty="0" smtClean="0"/>
              <a:t>more </a:t>
            </a:r>
            <a:r>
              <a:rPr lang="fr-FR" u="sng" dirty="0" err="1" smtClean="0"/>
              <a:t>than</a:t>
            </a:r>
            <a:r>
              <a:rPr lang="fr-FR" u="sng" dirty="0" smtClean="0"/>
              <a:t> 5 </a:t>
            </a:r>
            <a:r>
              <a:rPr lang="fr-FR" u="sng" dirty="0" err="1" smtClean="0"/>
              <a:t>card</a:t>
            </a:r>
            <a:r>
              <a:rPr lang="fr-FR" u="sng" dirty="0" smtClean="0"/>
              <a:t> in </a:t>
            </a:r>
            <a:r>
              <a:rPr lang="fr-FR" u="sng" dirty="0" err="1" smtClean="0"/>
              <a:t>your</a:t>
            </a:r>
            <a:r>
              <a:rPr lang="fr-FR" u="sng" dirty="0" smtClean="0"/>
              <a:t> hand the </a:t>
            </a:r>
            <a:r>
              <a:rPr lang="fr-FR" u="sng" dirty="0" err="1" smtClean="0"/>
              <a:t>card</a:t>
            </a:r>
            <a:r>
              <a:rPr lang="fr-FR" u="sng" dirty="0" smtClean="0"/>
              <a:t> </a:t>
            </a:r>
            <a:r>
              <a:rPr lang="fr-FR" u="sng" dirty="0" err="1" smtClean="0"/>
              <a:t>you</a:t>
            </a:r>
            <a:r>
              <a:rPr lang="fr-FR" u="sng" dirty="0" smtClean="0"/>
              <a:t> </a:t>
            </a:r>
            <a:r>
              <a:rPr lang="fr-FR" u="sng" dirty="0" err="1" smtClean="0"/>
              <a:t>draw</a:t>
            </a:r>
            <a:r>
              <a:rPr lang="fr-FR" u="sng" dirty="0" smtClean="0"/>
              <a:t> </a:t>
            </a:r>
            <a:r>
              <a:rPr lang="fr-FR" u="sng" dirty="0" err="1" smtClean="0"/>
              <a:t>is</a:t>
            </a:r>
            <a:r>
              <a:rPr lang="fr-FR" u="sng" dirty="0" smtClean="0"/>
              <a:t> DISCARDED.</a:t>
            </a:r>
          </a:p>
          <a:p>
            <a:endParaRPr lang="fr-FR" dirty="0" smtClean="0"/>
          </a:p>
          <a:p>
            <a:pPr lvl="1"/>
            <a:endParaRPr lang="fr-FR" dirty="0" smtClean="0"/>
          </a:p>
          <a:p>
            <a:pPr lvl="1"/>
            <a:r>
              <a:rPr lang="fr-FR" dirty="0" err="1" smtClean="0"/>
              <a:t>That’s</a:t>
            </a:r>
            <a:r>
              <a:rPr lang="fr-FR" dirty="0" smtClean="0"/>
              <a:t> a lot of </a:t>
            </a:r>
            <a:r>
              <a:rPr lang="fr-FR" dirty="0" err="1" smtClean="0"/>
              <a:t>rules</a:t>
            </a:r>
            <a:r>
              <a:rPr lang="fr-FR" dirty="0" smtClean="0"/>
              <a:t> but </a:t>
            </a:r>
            <a:r>
              <a:rPr lang="fr-FR" dirty="0" err="1" smtClean="0"/>
              <a:t>this</a:t>
            </a:r>
            <a:r>
              <a:rPr lang="fr-FR" dirty="0" smtClean="0"/>
              <a:t> </a:t>
            </a:r>
            <a:r>
              <a:rPr lang="fr-FR" dirty="0" err="1" smtClean="0"/>
              <a:t>is</a:t>
            </a:r>
            <a:r>
              <a:rPr lang="fr-FR" dirty="0" smtClean="0"/>
              <a:t> more </a:t>
            </a:r>
            <a:r>
              <a:rPr lang="fr-FR" dirty="0" err="1" smtClean="0"/>
              <a:t>easy</a:t>
            </a:r>
            <a:r>
              <a:rPr lang="fr-FR" dirty="0" smtClean="0"/>
              <a:t> as </a:t>
            </a:r>
            <a:r>
              <a:rPr lang="fr-FR" dirty="0" err="1" smtClean="0"/>
              <a:t>it</a:t>
            </a:r>
            <a:r>
              <a:rPr lang="fr-FR" dirty="0"/>
              <a:t> </a:t>
            </a:r>
            <a:r>
              <a:rPr lang="fr-FR" dirty="0" err="1" smtClean="0"/>
              <a:t>sounds</a:t>
            </a:r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4098" name="Picture 2" descr="Afficher l'image d'orig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381" y="1608907"/>
            <a:ext cx="3309619" cy="2068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Afficher l'image d'orig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056" y="820626"/>
            <a:ext cx="4328244" cy="157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74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07975" y="2132856"/>
            <a:ext cx="8229600" cy="3921299"/>
          </a:xfrm>
        </p:spPr>
        <p:txBody>
          <a:bodyPr/>
          <a:lstStyle/>
          <a:p>
            <a:r>
              <a:rPr lang="fr-FR" dirty="0" smtClean="0"/>
              <a:t>You have a </a:t>
            </a:r>
            <a:r>
              <a:rPr lang="fr-FR" dirty="0" err="1" smtClean="0"/>
              <a:t>readme</a:t>
            </a:r>
            <a:r>
              <a:rPr lang="fr-FR" dirty="0" smtClean="0"/>
              <a:t> file in </a:t>
            </a:r>
            <a:r>
              <a:rPr lang="fr-FR" dirty="0" err="1" smtClean="0"/>
              <a:t>your</a:t>
            </a:r>
            <a:r>
              <a:rPr lang="fr-FR" dirty="0" smtClean="0"/>
              <a:t> setup to help </a:t>
            </a:r>
            <a:r>
              <a:rPr lang="fr-FR" dirty="0" err="1" smtClean="0"/>
              <a:t>you</a:t>
            </a:r>
            <a:r>
              <a:rPr lang="fr-FR" dirty="0" smtClean="0"/>
              <a:t> and a</a:t>
            </a:r>
            <a:br>
              <a:rPr lang="fr-FR" dirty="0" smtClean="0"/>
            </a:br>
            <a:r>
              <a:rPr lang="fr-FR" dirty="0" err="1" smtClean="0"/>
              <a:t>demo</a:t>
            </a:r>
            <a:r>
              <a:rPr lang="fr-FR" dirty="0" smtClean="0"/>
              <a:t> to </a:t>
            </a:r>
            <a:r>
              <a:rPr lang="fr-FR" dirty="0" err="1" smtClean="0"/>
              <a:t>see</a:t>
            </a:r>
            <a:r>
              <a:rPr lang="fr-FR" dirty="0" smtClean="0"/>
              <a:t> the </a:t>
            </a:r>
            <a:r>
              <a:rPr lang="fr-FR" dirty="0" err="1" smtClean="0"/>
              <a:t>result</a:t>
            </a:r>
            <a:r>
              <a:rPr lang="fr-FR" dirty="0" smtClean="0"/>
              <a:t> </a:t>
            </a:r>
            <a:r>
              <a:rPr lang="fr-FR" dirty="0" err="1" smtClean="0"/>
              <a:t>expekted</a:t>
            </a:r>
            <a:r>
              <a:rPr lang="fr-FR" dirty="0" smtClean="0"/>
              <a:t> (</a:t>
            </a:r>
            <a:r>
              <a:rPr lang="fr-FR" dirty="0" err="1" smtClean="0"/>
              <a:t>pun</a:t>
            </a:r>
            <a:r>
              <a:rPr lang="fr-FR" dirty="0" smtClean="0"/>
              <a:t> </a:t>
            </a:r>
            <a:r>
              <a:rPr lang="fr-FR" dirty="0" err="1" smtClean="0"/>
              <a:t>intended</a:t>
            </a:r>
            <a:r>
              <a:rPr lang="fr-FR" dirty="0" smtClean="0"/>
              <a:t>)</a:t>
            </a:r>
          </a:p>
          <a:p>
            <a:endParaRPr lang="fr-FR" dirty="0"/>
          </a:p>
          <a:p>
            <a:r>
              <a:rPr lang="fr-FR" dirty="0" smtClean="0"/>
              <a:t>You have 2 </a:t>
            </a:r>
            <a:r>
              <a:rPr lang="fr-FR" dirty="0" err="1" smtClean="0"/>
              <a:t>hours</a:t>
            </a:r>
            <a:endParaRPr lang="fr-FR" dirty="0" smtClean="0"/>
          </a:p>
          <a:p>
            <a:endParaRPr lang="fr-FR" dirty="0"/>
          </a:p>
          <a:p>
            <a:r>
              <a:rPr lang="fr-FR" dirty="0" err="1" smtClean="0"/>
              <a:t>Don’t</a:t>
            </a:r>
            <a:r>
              <a:rPr lang="fr-FR" dirty="0" smtClean="0"/>
              <a:t> </a:t>
            </a:r>
            <a:r>
              <a:rPr lang="fr-FR" dirty="0" err="1" smtClean="0"/>
              <a:t>hesitate</a:t>
            </a:r>
            <a:r>
              <a:rPr lang="fr-FR" dirty="0" smtClean="0"/>
              <a:t> to </a:t>
            </a:r>
            <a:r>
              <a:rPr lang="fr-FR" dirty="0" err="1" smtClean="0"/>
              <a:t>ask</a:t>
            </a:r>
            <a:r>
              <a:rPr lang="fr-FR" dirty="0" smtClean="0"/>
              <a:t> questions !</a:t>
            </a:r>
          </a:p>
          <a:p>
            <a:endParaRPr lang="fr-FR" dirty="0"/>
          </a:p>
          <a:p>
            <a:r>
              <a:rPr lang="fr-FR" dirty="0" smtClean="0"/>
              <a:t>Have fun !</a:t>
            </a:r>
          </a:p>
          <a:p>
            <a:endParaRPr lang="fr-FR" dirty="0"/>
          </a:p>
          <a:p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Coding</a:t>
            </a:r>
            <a:r>
              <a:rPr lang="fr-FR" sz="3600" dirty="0" smtClean="0"/>
              <a:t> Dojo : </a:t>
            </a:r>
            <a:r>
              <a:rPr lang="fr-FR" sz="3600" dirty="0" err="1" smtClean="0"/>
              <a:t>Hearthstone</a:t>
            </a:r>
            <a:endParaRPr lang="fr-FR" sz="2400" dirty="0"/>
          </a:p>
        </p:txBody>
      </p:sp>
      <p:sp>
        <p:nvSpPr>
          <p:cNvPr id="5" name="AutoShape 2" descr="data:image/jpeg;base64,/9j/4AAQSkZJRgABAQAAAQABAAD/2wCEAAkGBhAQEBUUExITEhUTFBUXFhUVFRUSGRgWGBgaFhkXFhUYHCYeGBwjGRgVHzAgIycpLCwsFR4xNTAqNSYrLCkBCQoKDgwOGg8PGi4kHyUtNiopLiwtLCw1Ki41LCwsLzQ0LCwsLC8sLDUsLC4tLy8tLCwsLC0sLCwsLCwpLCwsKv/AABEIAL4BCgMBIgACEQEDEQH/xAAcAAEAAwADAQEAAAAAAAAAAAAABQYHAwQIAQL/xABHEAABAwIDBAUGDAQFBAMAAAABAAIDBBEFEiEGBzFREyJBYXEUMlSBkZIWF0JScnOTobLB0dI0YoKxFSQzovAjo7PjJkNk/8QAGwEBAAIDAQEAAAAAAAAAAAAAAAEEAgMFBgf/xAA3EQACAQIDBQUGBgEFAAAAAAAAAQIDEQQSIRMxQVGRBVJhcYEVIjOxwdEUMlOh4fCSBiNCQ3L/2gAMAwEAAhEDEQA/ANxREQBERAEREAREQBFD4ttfQ0jsk1Qxjvm6vcPFrQSPWo/4zMK9JH2cv7FsVGo1dRfQwdSC0bRaEVX+MzCvSR9nL+xPjMwr0kfZy/sWWwq919GRtYd5dS0Iqv8AGZhXpI+zl/YnxmYV6SPs5f2JsKvdfRjaw7y6loRVf4zMK9JH2cv7E+MzCvSR9nL+xNhV7r6MbWHeXUtCKr/GZhXpI+zl/Yu1hm3FBUyiKGbpHuvZojl4DUkktsB3lQ6NRK7i+gVSD0TXUnkRcNZWMhjdI8kNYLuIDnWA4mzQStRtSbdkcyKs/GRhfpI9yX9ifGRhfpI9yX9i17Wn3l1Lns/F/pS/xf2LMirPxkYX6SPcl/YnxkYX6SPcl/Ym1p95dR7Pxf6Uv8X9izIoPD9t8PneGR1LC48AczL9wzgXPcFOLKMlLcyvUo1KTtUi0/FW+YREWRqCIiAIiIAiIgCIiAIiIAiIgCrG8TaR1DRF0ZtJI4RxnjlJBJdbuaDbvsrOs232n/L0/wBc78BVjDQU6sUzTXk4020ZG95cSSSSSSSTckniSTxK+ItH2Ep8GdQPNUYelzPz9IQHhvyei1vw+brdeiq1NlG9r+RxqcNo7XsZwi+utfTh2X5d6+Laawi7dJhE80ckkcbnshAdIR8kG+pHEjQk2vYC5sF1FCaYswiIpIC2rdFgUcVH5RoZJybn5rGuLQzu1BcfEcgsVXoDdzh8cGHxNZIyQuu97mODhnf1i24+aLD1LndoytStzZdwSvO5ZkIRFwTrnn/bvDGU+ITRsAazM1zQNAA9ofYDsAJI9SgFqeI7Q4PijXipvTSx5g2S3WygmxDgOsLfIcOJ05rL5mtDiGkuaCbEjKSL6Ei5tcdl1wK8EpXi00z6v2ZiKlSkqdWLjKKSd1v8U9zPwiItB1Qtm3V7TSVMD4pXFz4MtnHUljr2ue0ggi/IhYytD3MH/Mz/AFTfxq1hJNVUuZwe36EKmCnJrWOq6o1xERdw+YhERAEREAREQBERAEREAREQBZtvt/h6f6134CtJWbb7f4en+td+Aq1g/jRK+J+EzIkRF6U4gQC6L6wgEXFxfUcxyQG/7A7LvoKTo5HBzpHGRwA0aXNa0sv8q2Xj2rFdrcNFNXVETQA1krsoHY13WaPUCB6l6GjqhLCJIXNcHszRnsNxdp8OC80VjpDI8y5ukLnZ83nZ79bN33uuRgHKdScpM6OLUYwjFHEiIuuc0LSt1G1dPTRTR1EzIhna9gdcXuLOseHyW6d6zVFqrUlVhlZtpVHTlmR6YwvG6aqBMEzJQ02ORwNvEcQu8sQ3T4bUurmyx5mxMa7pHkHK5p06MHgTmse7LfsW3rzuJoqjPKnc7NCo6kczVjNsQ3NsfM90dR0bHFxDDHmLb65Qc4uOP3cVwfEp/wDs/wCz/wCxagi5zwtJ8Pmd+PbuPiklU/aP2MvxHczaP/oVBdIOIkaGtd4Fty313WcYhh8tPI6OVhY9psWn+45g8xoV6XVZ222LjxCK4sydgPRv59uR/wDKT7DrzB0VsHFq8N51Ozf9RVY1MmKd4vjxXTgYMtD3MfxM/wBU38YVCrKN8Mjo5Glj2GzmniCr7uY/iZ/qm/jCpYZWrI9N2y1LAVGt1l80a4iIu6fLAiIgCIiAIiIAiIgCIiAIiIAs332D/L0/1zvwFaQs432fw1P9cfwFWsH8aJoxPwmZAiIvSnDCIiEGtbnNpM0b6R51ju+K/wAwnrN9Tjf+s8l1N7OxpDvLIW3B/wBcNHAgaS25W0cfA8ys9wXFn0lRHOzzo3B1uFxwc09xaSPWvSFBWx1ELJGHMyVgcPBw4EfcQuNib4asqsdzOnRtXp7OW9HmJFqu2e6bMXTUQAvq6C4A7zEToPonTkexdHA9zMz7OqpRELeZHZ7/AALj1R6syvLG0XHNcqvDVFLLYoeGYTPUvyQxvldyaL2F7XceDR3mwWvbD7s46UGSqbHNKbZRbO2Md19HO77aW05m04BszTUMeSCMNvbM46veR2ud29unAX0AUouXiMbKp7sNEX6OFUNZas/EUTWANaA0DgAAAPABftEXPLgREQBERAVLbvYZtezPHZs7B1TwDx8xx/sey/JVTdBA6OrqGPaWubGA5pFiCH2IIWsKLptnoo6uSpZdrpWBr29hIIId3Gwsf+XrSoJ1FUXqdmh2nKOEqYWo7pr3fB3WnkSiIisnGCIiAIiIAiIgCIiAIiIAiIgCzjfZ/DU/1x/AVo6zzfVATSQuA0bPr3ZmOA+8K1hPjRNGI+EzHERF6U4YREQgK8bu94PkJ6Ge5p3OuDxMRPE27WniR2akdoNHRa6tKNWOWRshNweaJ6jjla5ocCC0gEEG4IOoIPJdWsxumh/1J4o9L9aRrdPAlebX4hMWhhlkLGizWl7i1o5Bt7D1LrgLmLsznL9i88dyiejMN2zoamYwxTse+1wBcB1uOVxFnEcdL6LixrbygpHFkswLxxYwOkcO45RZp7iQvPIcRqhN1n7Nhfe7GH46Vt2p6UwPaGnrY+kgkDx8ocHNPJzeIP8AwKSXnbYnHvIq2KUmzCckn0HaEnwNnf0r0SCufisPsZWW5l3D1trG73hERVCwEREBjeMbb19LiBa+VzmU8hbk0aHxk3Ge3nOLCLE8PatcoK5k8TJYzmZI0Oae48+R7LdyybfDhmSrjmAsJo7E/wA0Zt+Es9iltzWJSuZNCdY48r2n5peTdo7ja/jfmufSqSjWdOR67tDCUq/Z1PF0kk0le2l9bP1uaWiIugeRCIiAIiIAiIgCIiAIiIAiKvVm3VHFOad5kbKPk9G830vcECxFtbrOFOc75E3bXTkQ2lvLCuni+FRVUD4ZRdkgsewjtBB7CCAR4KOl2xp2i5bPbmIJT/Zq7GE7UUlVcQzNc4cWatcPFjrELLZVIrPldlxsReL0MfxvdZXwPPRs8ojvo5hAdbszMJuD4XHeor4C4l6HN7o/VeikV2PaNRKzSZUeCg3o2edfgLiXoc3uj9U+AuJehze6P1XopFPtKfJGP4GHNnnX4C4l6HN7o/VPgLiXoc3uj9V6KRPaU+SH4GHNnnX4C4l6HN7o/VPgLiXoc3uj9V6KRPaU+SH4GHNnnX4C4l6HN7o/VPgLiXoc3uj9V6KVYm3iULJ3QOMolYSHM6GUnTwbqLWNxzWccfWn+WF+oeCgt7Mc+AuJehze6P1W2bDy1BoYm1Eb45Yx0ZD9C4N0a7vu23rBXFJt5SN1c2oA5+TT2Hj1FKYTjlNVszwSslb/ACm9jyI4g9xWjEV6lWPvxt46m2jQjTd0zvoiKgWgiIgKnvH2akraVoiaHSxyNLRcDQ9VwudO0H+ldzYrZRuH0+S4dI85pHDgTwDW/wAoH9ye1WBFr2Uc+fiXHjarw6w1/dvf++HEIi69biMULc0sjY2jiXENHtK2FM7CLhpKyOZgfG9sjHC7XMcHNI5gjQrmQBERAEREAREQBERAFiu8qFz8ZaGNc45IdGgk2DnE6DuutqWH71WZsWaObIB/ucun2dbNUv8Apy+Rpq8PNGtw0lOIm5w0dUXv4LHdtMQYMSa+jvdgY3Mzg59zcAjj1SAfC3YtNi2Ip5IWhzWG7RxY0/kqdtngkmFNjnhlLmiQN6N/XZqCRlafN4W0tx7ln2e453CD96ScVdWWvOzfpwuKt7Xe5alpx7bN9LFBG1uepmAs03001c62tgOWp9pHNQ+Wyx5+nkY7su2MD7MtvbuLr96ynanFPLaqCY6NljjFvmkPc17fev6iFr1HsjB0beqzzR8hv6LXiKUaEaceLV3onxatrysTFuTZ1MD25zVL6Spa2OeM6ObfJILAhzQdQbEaa+JXRm22mqap8VMCI4nZHSNbnLn9rWk9VoHa437h2rsYhshSxzskFmzWd0eVoF3BhPWt2WHE9w7Qs93XYS2ere2Ti1vAi+t7HQ9qyUKUqc60VayS56u93blppyv4EXldRNIxOrr6SJ0zX9O2Npc+KTJctAucr2NaWutfiCFzQ7YNq8PkqKZwa9kbnWeM1i0XIcARytoe/Vdl+x1OQQWMsRbzG/ooWDZ+lpaWt6An/Tla4cBfo82nZwcP7dirKUJJK2t99ktPFGepWaLeNiNXTNZAWdO0EyPLebjlbGwA3s3Lcu08dVp2AVcssDXStLXW1vYE95A0WZ7kKRpMryLkWC15TjXFVZQjFJKT+f8AbciKd8qbCwfbcf8AyE974fwBbwsH25e8bQOyPcwuMTbtJabFjbi41U4P/sv3H9BU4eZs7cJgyC7G8AsVx7FhTY4XUZsAY2PDeDnWs4OtxPD1g961F+yLpGDNLK641BmmsfEB9ivuFbvqWF4flaS3zQGhoHeAO3vWulVjSUratqxLTdiFx7eO8VLaWDKJAAZZCC4MJA6rWgjM83GlwBfW+oUyKbEOjzxzuzWvllbE9p7i1rGuHqcsw2Zoz/j8zJfOE8pN+3rEtPukW8VvACmulSkox5L1uriOquyqbM7cNq3yU8rfJ6qElr2XzC/zmE+c08QqdhG8SufVT0ksjC8TOY17I7BrGXBLWk3c5xtbMSBYnXgYPFqot2le6LtkjDrd7G3/AC9i59jqRr8fqSfk1E34itsoRgpNLgn5XIu2XHGYMVpIn1MNS9/RtL3RTCN7XtaLkdVjSw2vaxUrgG8GCpoHVZ6gjYXSN45co18eB8VObQNBpJweBhkH+0rIdzNGyppKmCTVksbmu7NHAg25KvpKnd8H+xluZPbK7TVmLPL874mEnJHGQ3Ky9gZH2LnOPGzcoHeo7eXQmlMUtV/mqeV4icJbSOhJBOeI2tqAb3Bd1R1uxcu7mqZhck1PIXzBr8olhikmZzyvcwHI8Ai7TwuNV2N50E2KNihijc2Jj87nOGVz3AFrWsYet8o3c4AcLXWW6fh9BwLnsRhUcFK0RPL2EDLc3sANAFYVC7IYU6mpI43nrAaqaVYyCIiAIiIAiIgCIiALHttdl66TEOm6MTNzNsGEts1vAEkcb66DtWwrhrKpkTHPeQGtBJJ00CsUK86LeTirPS+jMZRUt5A0mK1gY0dDGLAaF8l//GqrtZgOIYi5rXloa03a1gdlB4ZnOdYmwvoAOJX5Zt1UYhUGOAujivYZQM7+8lwIY31E+HZamYBU5bieZjrcRI533Pu0+xWPew07XUZdWvs/LVeZhpNc0QdXuvZ5BHE1wbLCczX954g8wbD2BSWA47VBgifFGSzq52yEi45jISPvXXotoqyKpNJWMbK17epK1uXMDcZXt82/Hh+aq+7ir6CqqLnJAyR9yTZodmsBc8TYDTistlJ0pKTUstrcfzeOjXk16Ji6zLx+hf6bDJJZM8pueF7WAbcHKwHXUgEk6mw4AACBxPZCakrTWUga7P8A6kRJaCTxIIBsT4EKyQbZ0TpBH0wY8+a2Rros30c4APqUrU1kcbC97mtaPlE2HtVbNVpvVWurWa3ryMrRZB/4rVTMsI2wk8TcyH1DKAfWbcweC4K3Z+byOVkZAfIxzRnLj518znEAlziST3k9i7cG2lG+/RvdIBxdHFJI33mtIPtUjh2M09QCYpWvsbOAOrTyc06tPcQoaqQ1y2t4P6k6PiUHdVgdTRvkZLGWg8Hc/u0WlrpHGacSGLpWdIASWZhmsOJy8eXtUZLt3QMcA6bKCbB5a/o7/WgZPvUTVStNzs23rogrRVifPcsT2g2RxE4p5QWNkvI13UzANaLAC5FzoOWvctgqsZgiYHukblNrEG978A23EnsA1K6WG7Y0VRIY2TASD/63tdE+3MNeAT6lNKVSCk4rRqz04BpPeSlI4mNtxY2Gi5lw1VZHEMz3tYObiAPaVwTYzAxrXGRtnC7SDmzC17tt52ljpfitCTe4yKztVsY59UytpsrZ2WDgQcsjR2OtqCOwj7xouzPjlc6PKII432tmdI94HflDAXeF2+IUzQ7QUs7iyOZjnt4svleO8sNjbvsobeLTdJSWFX5G8ODhJnEdw3i3NcW7Nb9g8DuTbajP97mPiiD2Y3eFk7qiQl7yXOzP0L5Ha5iB5o5AcBzUNsrspXU2Lvmla14ke5znMzBt3EmwDhe2v3LS8Bll8naZ3AutqQdPavy/aqjaT/1mnKbEtu8A8nFoIae4qM83fjfeLI5NpKWWWkmjhLQ98bmtL721FtbC/A39SyDZxtTgFLUzSxZy0sZHa4Di4kXcSOqB+YW1UddFMwPieyRp4OY4OB9YUbi9dQyk0k0kRdKC3onFuZ2l/MOp0F/UohJr3WtOJLXEx3D93lXVvdUU8xg6Rxc7oXPiYHHUhnWJte+pPqHBSdZgWPUEbpm1xc2JrnkTZZGkMaXEEuF9QLfmOKnhW09C0xx18rI2m1w3pWMtpldKY3htuFnHRS8WBeXRhzqg1UTrEXex0ZtqCWxta19j2OuLjuWyU5b5bvIi3I7+we1ZxGkbK5mR9hmb2Xt2X7FZFH4Ng0dKzKztNyeZUgq7MgiIoAREQBERAEREAVK3uVLmYa4N+W9jT4E3P9retXVRG1eBitpJYToXC7Tyc03afaFZwlSNOvCc9yab6mE03FpFF3LYc3o5ZSLuLi0dwC1FZVusrjSTS0kwyPzXAOl+eXmPBam6QAXJCyxsHCvO/Ftp809UxTd4o456ZjtSASOBWJbGRvkxR7ATlEszvokusSORIAF1pUe3kElY6mZ17NN3t1AfcDJp22ue63jaibtJB/ik3e+Wx/rKsUozpYerdWuo9G38/kYNpyj6l3212YhfQT9W7mROc0nXrNGYHx0Vd2JqRiWGy01Q7M1uUZiddCHNN+egV42unDKGoJ7IZPwlYdQySjCp+juB0sfSEcejs4H1Zst+5Z4WEqlGMU7PaKz5XT+yIm7Sv4Gl4DJh1OCwSGd4Nj0bHyhv8vUBDfBVfbfFG0+JU89OHxl7Mr8zHx5gHAahwGbR33BWTdpgrHUjZJO3zW8AB2WH5qq73JW+WU4Y2zYw4XHDNmaS3xAy3+kO9YYVRdWUYp/llv8AJ+HMmd8qv4H429kccUiLAAZqeLPbTOC83DuY6rR3gWWoN2bifBaUZy5hBvyI4W5LMNqpAcVpe6CG/d1nHX1LZswEf9P5LTipO1P/AMr5sygt/mYtuxqJZKnycuJZEHtYfmtLiXW8dNeQAVk3u4HFFRsnjuyWKVha4cdTY6+w+pV7dC4HEJTzz295XDfTIBhhF9TLHb3r/kfYrc2/aHqv5MF8IjcbxLyzZyR8gDnBrTcgGzg4WI5FfndG2Sohc6Qk2ytv25WizWDk0Ds53PEqMonX2Yn7gPxhS25LEGmnfHcZmu59iqtNYZpd76Iz/wCfoSm8zZ1nkT6iO7JqYdJHI02c3KbuAPGxbfTwVH2j2nOIYAXSgGSKWIE2HHNlJHK4v7Ve962OtioXwNOaWoBjYwcSDo51uQbck8BpzWYVGFOp8ClL9Okniy99nX09h9i2Yd+7TvvzaeXH0uRLe/I7GP7UztoKOmEjh04c+VwJDjGHZAwHsvZ1/DvK1XY7Ag2ljLxa7RZo6rWjsDQOCyXF8Akfh1JVsBcKfMyQDUiMuzB1u45r/S7lt+zdYySlic0ixYNb6cOwqtVts428b+d/sZLezOt4crsGq6eqpiWtnc5k8Y819rEOI4Z7Zutx0CgN6uI9LV0U8PVdNA8FzdHEE5SLjXg5wv2XUpvoq/K54KaLrmIl8pGuUuFmNPJx6xtyseCgdtKboJ8MicesyF2Ycszha/sPsK2xdsr42f8ABD4mv4BgTHU0fSDUsAAGgaLaAAcAs52Zr3YftBVUkekD5A4R/JaXNa45R2ed9wWv4aR0LPoj+yw+rqQ7amUjhnjHsYy/36KtDVS8jNm9IvjeC+rUSEREAREQBERAEREAREQENjWylNV6yMGYcHWF11BsazLlLi5vJz5HD1tLrH2KyIs1UnFWTfUiyK9R7EU0brloOhAFgGgHk0aLgwvYGmpqkzx9Q/NaA1oHcBwVoRM8rNX37/EWR1sRw+OoidHI1r2uGocA4c+B71B4HsJT0oka3VsvnNPD2KyoozStlvoLFZo9hoYCeiLmNJvlDntbr/K0gH1hcmL7EU1VG1kjQcnmkADL9HkrEinaTve76iyKhWbtaWR7H2s9lusAA5xHDMeJ4BWk0rTH0bhmaW5SDrcWtquZFDlJ72LFWwfd/TUtQZ4uoT8loDWgcgBoFJ7RbNwV0eSVjXWvlJaHFpPEtvwKlkTPK+a+osjONssBjw/BZoY8zg/KGgAu1LgezuBPqXS3R4TBNSOzNaXB3LUafctQnga9pa4XB0IXVw7BoKe/RMDL8bLZtf8Abycb3uRl1uRx2NpydWjXjYAEgdhdxI7iv3jex9LVwiJ8bCGeaS0Etv8ANvwKnEWvM73uTYh8C2YipIOhb1mciukNhqdhPR3jDjcta98Y17mOAKsqKFJrcybEDQbHU8RByt6pJDQA0XPE2HE951XU2k3eUddIJHsa14td4aMxtwu7jorSiZne4OCjphHG1gNw0W1VYqN2lG6rFS1jY3hxd1Ght3E3JNuJJ7VbkS4PjRYL6iKAEREAREQBERAEREAREQBERAEREAREQBERAEREAREQBERAEREAREQBERAEREAREQBERAEREAREQBERAEREAREQBERAEREAREQBERAEREAREQBERAEREAREQBERAEREAREQBER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5124" name="Picture 4" descr="Afficher l'image d'origin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884" y="5007708"/>
            <a:ext cx="3283964" cy="184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27303">
            <a:off x="6464255" y="1616973"/>
            <a:ext cx="2251803" cy="3056823"/>
          </a:xfrm>
          <a:prstGeom prst="rect">
            <a:avLst/>
          </a:prstGeom>
        </p:spPr>
      </p:pic>
      <p:pic>
        <p:nvPicPr>
          <p:cNvPr id="5126" name="Picture 6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07031" flipH="1">
            <a:off x="5111623" y="4778047"/>
            <a:ext cx="3157416" cy="1578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672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74B2B0-7D19-45A4-83FE-E016FDC5AE00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0</TotalTime>
  <Words>192</Words>
  <Application>Microsoft Office PowerPoint</Application>
  <PresentationFormat>Affichage à l'écran (4:3)</PresentationFormat>
  <Paragraphs>80</Paragraphs>
  <Slides>8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6" baseType="lpstr">
      <vt:lpstr>ＭＳ Ｐゴシック</vt:lpstr>
      <vt:lpstr>Arial</vt:lpstr>
      <vt:lpstr>Calibri</vt:lpstr>
      <vt:lpstr>Wingdings</vt:lpstr>
      <vt:lpstr>Modèle par défaut</vt:lpstr>
      <vt:lpstr>1_Office Theme</vt:lpstr>
      <vt:lpstr>Conception personnalisée</vt:lpstr>
      <vt:lpstr>think-cell Slide</vt:lpstr>
      <vt:lpstr>TypeScript Workshop</vt:lpstr>
      <vt:lpstr>Code Dojo Some Principles</vt:lpstr>
      <vt:lpstr>Some tools (optionals) </vt:lpstr>
      <vt:lpstr>Some tips  </vt:lpstr>
      <vt:lpstr>WELCOME TO</vt:lpstr>
      <vt:lpstr>Trading Card Game</vt:lpstr>
      <vt:lpstr>Présentation PowerPoint</vt:lpstr>
      <vt:lpstr>Coding Dojo : Hearthstone</vt:lpstr>
    </vt:vector>
  </TitlesOfParts>
  <Company>betcli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ylvain Thiebaut</dc:creator>
  <cp:lastModifiedBy>Maxime Lemaitre</cp:lastModifiedBy>
  <cp:revision>124</cp:revision>
  <dcterms:created xsi:type="dcterms:W3CDTF">2012-11-21T13:06:02Z</dcterms:created>
  <dcterms:modified xsi:type="dcterms:W3CDTF">2016-11-15T15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